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1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54-4510-894C-1FF0F46F075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654-4510-894C-1FF0F46F07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9292096"/>
        <c:axId val="619282496"/>
      </c:areaChart>
      <c:catAx>
        <c:axId val="61929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82496"/>
        <c:crosses val="autoZero"/>
        <c:auto val="0"/>
        <c:lblAlgn val="ctr"/>
        <c:lblOffset val="100"/>
        <c:tickLblSkip val="1"/>
        <c:noMultiLvlLbl val="1"/>
      </c:catAx>
      <c:valAx>
        <c:axId val="6192824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9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3D-4909-981D-9BA4AAA4C53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3D-4909-981D-9BA4AAA4C5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9292096"/>
        <c:axId val="619282496"/>
      </c:areaChart>
      <c:catAx>
        <c:axId val="61929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82496"/>
        <c:crosses val="autoZero"/>
        <c:auto val="0"/>
        <c:lblAlgn val="ctr"/>
        <c:lblOffset val="100"/>
        <c:noMultiLvlLbl val="1"/>
      </c:catAx>
      <c:valAx>
        <c:axId val="61928249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92096"/>
        <c:crosses val="autoZero"/>
        <c:crossBetween val="midCat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3B027-E4F1-6019-A49E-7FA88224C5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F6B6F74-8485-2E71-5498-B32040417D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6B6F74-8485-2E71-5498-B32040417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FA093A4D-F158-857B-DAEF-659000C06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rea / 100% Stacked Area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4F14B93-727B-FDFC-8A3A-05E7A900C2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5CB7FED7-519E-F574-1BEB-D05D7E415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FC63A53A-6019-7911-810C-138F65B579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8A5F9426-1CBE-64F1-BD33-460A17B2F7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23" name="Chart Placeholder 9">
            <a:extLst>
              <a:ext uri="{FF2B5EF4-FFF2-40B4-BE49-F238E27FC236}">
                <a16:creationId xmlns:a16="http://schemas.microsoft.com/office/drawing/2014/main" id="{6674D2AF-31C9-64DB-66F8-1D834FFE5D3B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Placeholder 9">
            <a:extLst>
              <a:ext uri="{FF2B5EF4-FFF2-40B4-BE49-F238E27FC236}">
                <a16:creationId xmlns:a16="http://schemas.microsoft.com/office/drawing/2014/main" id="{E94589FD-5E13-47D1-7208-C8F867D2B90C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49639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0</TotalTime>
  <Words>24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Area / 100% Stacked Are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38</cp:revision>
  <dcterms:created xsi:type="dcterms:W3CDTF">2025-07-09T10:57:17Z</dcterms:created>
  <dcterms:modified xsi:type="dcterms:W3CDTF">2025-10-22T10:05:39Z</dcterms:modified>
  <cp:category/>
</cp:coreProperties>
</file>